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1" r:id="rId2"/>
    <p:sldId id="256" r:id="rId3"/>
    <p:sldId id="257" r:id="rId4"/>
    <p:sldId id="258" r:id="rId5"/>
    <p:sldId id="259" r:id="rId6"/>
    <p:sldId id="260" r:id="rId7"/>
  </p:sldIdLst>
  <p:sldSz cx="12192000" cy="6858000"/>
  <p:notesSz cx="6858000" cy="9144000"/>
  <p:custDataLst>
    <p:tags r:id="rId8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0" d="100"/>
          <a:sy n="100" d="100"/>
        </p:scale>
        <p:origin x="90" y="4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7E3AFA0-8623-43C5-B5BA-D60C916383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70F88D77-5958-4AB5-B497-F1921D014A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F1C5C13E-4F89-49DB-9CB2-C752D72A6A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A1D606E-E884-4DB3-9C3F-109696C533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928A3374-57F3-4F54-AD81-7115AA5D0D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4020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70FC154-F1A7-429D-8612-021D49A65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F807A9F0-1D6B-43A6-BCE5-257B738875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8C38D4E-AAD1-4FD7-B2CF-56504C4EC3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DE271C08-1411-43CF-88F7-A3F5414C5D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7ABBEBD-2A1C-42AD-8BDE-C53742E101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4793894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EA5B8803-6C93-4BF4-8FAA-EA7E859998D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254564E4-E5FF-4C98-9A5A-8449C3F4C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36A69006-57A1-4420-A3F6-15EAAA3344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FC1390F4-0B39-4319-9D3B-F2B1FD8B03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DBAA76A-7C62-434C-8C73-76E44E6041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126847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33D2CB47-CF2D-40B2-952E-5E6E70071E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F2FC4B80-D0F9-42CC-B930-74DFEAED0A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513D220-8964-4484-9CFF-B56417B985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2A64C3D9-0F4B-4909-96AF-84F98B6AF3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2BBDACE-20B9-4B9D-A607-0195101741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41696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88EE655C-6B98-46D3-8605-E9B4B920C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CFF010C5-3200-4AFF-95B2-1CB1E307FE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A4326C18-58E6-4E39-B5F3-F88FD2F0C8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6078DB58-45E0-4C3A-AF4D-B7CF2B1C5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79D86273-5768-41C5-BD73-EA5388647A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31517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083FEF02-67C8-4741-AE58-B50944E91F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C5DBD90-B1ED-4CAF-8633-025C1CC746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710C567F-0917-47B5-A5A2-5E8A0AF429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50E0300C-EBAD-42C9-8A02-40FC070B19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859DBC87-423B-4B06-99F8-754C8A6F6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50C3F26-7F5C-43D9-B9A1-4E772797C2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766944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7175047C-0ED5-4741-88D8-0E9491123D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F25B8045-A87B-4692-9EA8-739F561BC5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94C5AA32-1100-49C9-9BBD-EF78684FC7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1CF23FCB-6086-4081-BDCB-3D395F45D7B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16B0D5E0-3FFC-46AF-A9DD-EFAB98524C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E12EB42D-4619-40CC-AC54-9594A389C6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C169B32E-BA02-4B17-9FBB-A0B6935B6B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C9ED75D3-1573-4217-967D-ADAB2A153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003873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51CA4A7A-C05C-4AE7-881A-5E531283C0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5D266F5D-E525-4CC9-8F5F-C92D9C752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26CD07E5-83EA-4E90-AC12-AE4084394C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692B0074-7FB1-4F71-9042-8A9DCAF235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110707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>
            <a:extLst>
              <a:ext uri="{FF2B5EF4-FFF2-40B4-BE49-F238E27FC236}">
                <a16:creationId xmlns:a16="http://schemas.microsoft.com/office/drawing/2014/main" id="{D6632788-D06A-416A-BED5-FF8816E9B7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3" name="Zástupný symbol pro zápatí 2">
            <a:extLst>
              <a:ext uri="{FF2B5EF4-FFF2-40B4-BE49-F238E27FC236}">
                <a16:creationId xmlns:a16="http://schemas.microsoft.com/office/drawing/2014/main" id="{3B56078B-D015-40A9-A76C-195276E97C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>
            <a:extLst>
              <a:ext uri="{FF2B5EF4-FFF2-40B4-BE49-F238E27FC236}">
                <a16:creationId xmlns:a16="http://schemas.microsoft.com/office/drawing/2014/main" id="{27E5D37A-8409-43FB-B353-285B4E72BA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84469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1A87BE89-6C59-41AB-A3F0-CF77874A2F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C223F333-0C10-4216-80DE-1B2784C31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A00A5D69-499D-436E-97B8-A0DB8574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C204C626-1332-42F6-81F2-049ADA09CA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628C9A02-7F68-4E79-9DAC-6618F1E6B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A7313BF2-AC75-4B38-A596-B49DBA2B4C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1831095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F5C478C-06CB-4CA1-9141-DC16765870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B8D8CC5C-9B10-470A-BF94-85A1DCC01B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53DF8B5-1BF5-4787-80AD-8F2FE5E0285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A332DD3-2CEA-4695-974D-D3DB5F3C3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D0750FD4-14E4-4FA2-8AE0-D475AA5346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6F6CCE35-F25C-4F8D-B440-8284F7B486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94072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3E84D52-71DC-44BD-A904-8D3AD8858D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102857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" name="think-cell Slide" r:id="rId15" imgW="353" imgH="353" progId="TCLayout.ActiveDocument.1">
                  <p:embed/>
                </p:oleObj>
              </mc:Choice>
              <mc:Fallback>
                <p:oleObj name="think-cell Slide" r:id="rId1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8D682B9A-22D0-41CB-9CDC-6A7F4F0037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5FD37FAF-C78E-44CC-88B8-4F3F7DECA1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C3AE305A-B9F8-411C-8051-9544C2E6BC4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EF959C-37E6-452B-9242-660709992A58}" type="datetimeFigureOut">
              <a:rPr lang="cs-CZ" smtClean="0"/>
              <a:t>25.07.2022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0A666D1B-4A53-4022-856F-7355331022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84848DAA-1A2E-4955-ACAD-BCB9F9EFCB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030A19-BC8E-46D4-8501-D9B479FCEC97}" type="slidenum">
              <a:rPr lang="cs-CZ" smtClean="0"/>
              <a:t>‹#›</a:t>
            </a:fld>
            <a:endParaRPr lang="cs-CZ"/>
          </a:p>
        </p:txBody>
      </p:sp>
      <p:sp>
        <p:nvSpPr>
          <p:cNvPr id="9" name="MSIPCMContentMarking" descr="{&quot;HashCode&quot;:1622173095,&quot;Placement&quot;:&quot;Footer&quot;,&quot;Top&quot;:522.862549,&quot;Left&quot;:0.0,&quot;SlideWidth&quot;:960,&quot;SlideHeight&quot;:540}">
            <a:extLst>
              <a:ext uri="{FF2B5EF4-FFF2-40B4-BE49-F238E27FC236}">
                <a16:creationId xmlns:a16="http://schemas.microsoft.com/office/drawing/2014/main" id="{708A8DAE-8E99-454B-B82E-D56D6565632B}"/>
              </a:ext>
            </a:extLst>
          </p:cNvPr>
          <p:cNvSpPr txBox="1"/>
          <p:nvPr userDrawn="1"/>
        </p:nvSpPr>
        <p:spPr>
          <a:xfrm>
            <a:off x="0" y="6640354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cs-CZ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</a:p>
        </p:txBody>
      </p:sp>
    </p:spTree>
    <p:extLst>
      <p:ext uri="{BB962C8B-B14F-4D97-AF65-F5344CB8AC3E}">
        <p14:creationId xmlns:p14="http://schemas.microsoft.com/office/powerpoint/2010/main" val="2741361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E273DFF-AFCF-4AAB-B721-EE1DE7549A8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192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>
            <a:extLst>
              <a:ext uri="{FF2B5EF4-FFF2-40B4-BE49-F238E27FC236}">
                <a16:creationId xmlns:a16="http://schemas.microsoft.com/office/drawing/2014/main" id="{D25C20E5-4CEE-4E22-A928-0209A1080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cs-CZ" dirty="0"/>
              <a:t>Stavba oplocení ze ztraceného bednění/tvárnic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4D848F68-5315-4ED2-B10D-B726F9C1122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dirty="0"/>
              <a:t>Délka oplocení 43m</a:t>
            </a:r>
          </a:p>
          <a:p>
            <a:r>
              <a:rPr lang="cs-CZ" dirty="0"/>
              <a:t>Plný plot ze ztraceného bednění /tvárnic</a:t>
            </a:r>
          </a:p>
          <a:p>
            <a:r>
              <a:rPr lang="cs-CZ" dirty="0"/>
              <a:t>Výška oplocení 2m</a:t>
            </a:r>
          </a:p>
          <a:p>
            <a:r>
              <a:rPr lang="cs-CZ" dirty="0"/>
              <a:t>Betonový základ </a:t>
            </a:r>
            <a:r>
              <a:rPr lang="cs-CZ"/>
              <a:t>pod oplocení.</a:t>
            </a:r>
            <a:endParaRPr lang="cs-CZ" dirty="0"/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189254B5-B321-49E6-8FC4-9E552534E3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34375" y="2105819"/>
            <a:ext cx="3019425" cy="2971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7508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26794B-238D-4398-83C6-C9B5804C2F7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03546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ázek 5">
            <a:extLst>
              <a:ext uri="{FF2B5EF4-FFF2-40B4-BE49-F238E27FC236}">
                <a16:creationId xmlns:a16="http://schemas.microsoft.com/office/drawing/2014/main" id="{4206DF39-F7F4-4E34-8924-63E2229220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33148" y="248647"/>
            <a:ext cx="4510702" cy="5340725"/>
          </a:xfrm>
          <a:prstGeom prst="rect">
            <a:avLst/>
          </a:prstGeom>
        </p:spPr>
      </p:pic>
      <p:pic>
        <p:nvPicPr>
          <p:cNvPr id="8" name="Obrázek 7">
            <a:extLst>
              <a:ext uri="{FF2B5EF4-FFF2-40B4-BE49-F238E27FC236}">
                <a16:creationId xmlns:a16="http://schemas.microsoft.com/office/drawing/2014/main" id="{2C70D073-FB3D-47F3-86A5-464EEDADD4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843850" y="248646"/>
            <a:ext cx="4604950" cy="5317621"/>
          </a:xfrm>
          <a:prstGeom prst="rect">
            <a:avLst/>
          </a:prstGeom>
        </p:spPr>
      </p:pic>
      <p:sp>
        <p:nvSpPr>
          <p:cNvPr id="9" name="Ovál 8">
            <a:extLst>
              <a:ext uri="{FF2B5EF4-FFF2-40B4-BE49-F238E27FC236}">
                <a16:creationId xmlns:a16="http://schemas.microsoft.com/office/drawing/2014/main" id="{E59AF711-27DA-4273-917A-28783A7362D3}"/>
              </a:ext>
            </a:extLst>
          </p:cNvPr>
          <p:cNvSpPr/>
          <p:nvPr/>
        </p:nvSpPr>
        <p:spPr>
          <a:xfrm>
            <a:off x="2743200" y="733425"/>
            <a:ext cx="678576" cy="535203"/>
          </a:xfrm>
          <a:prstGeom prst="ellipse">
            <a:avLst/>
          </a:prstGeom>
          <a:solidFill>
            <a:srgbClr val="FF0000">
              <a:alpha val="1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FD06D0C8-C1D0-46C9-B130-6AC3B3168AAB}"/>
              </a:ext>
            </a:extLst>
          </p:cNvPr>
          <p:cNvSpPr/>
          <p:nvPr/>
        </p:nvSpPr>
        <p:spPr>
          <a:xfrm>
            <a:off x="7334250" y="3562350"/>
            <a:ext cx="678576" cy="535203"/>
          </a:xfrm>
          <a:prstGeom prst="ellipse">
            <a:avLst/>
          </a:prstGeom>
          <a:solidFill>
            <a:srgbClr val="FF0000">
              <a:alpha val="12000"/>
            </a:srgb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632706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F768D94-C108-4EA1-A79C-824531F327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0327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ázek 5">
            <a:extLst>
              <a:ext uri="{FF2B5EF4-FFF2-40B4-BE49-F238E27FC236}">
                <a16:creationId xmlns:a16="http://schemas.microsoft.com/office/drawing/2014/main" id="{CA5AA8AD-FB3E-44D7-A353-D5C7D565A8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83718" y="0"/>
            <a:ext cx="6224564" cy="6858000"/>
          </a:xfrm>
          <a:prstGeom prst="rect">
            <a:avLst/>
          </a:prstGeom>
        </p:spPr>
      </p:pic>
      <p:cxnSp>
        <p:nvCxnSpPr>
          <p:cNvPr id="8" name="Přímá spojnice 7">
            <a:extLst>
              <a:ext uri="{FF2B5EF4-FFF2-40B4-BE49-F238E27FC236}">
                <a16:creationId xmlns:a16="http://schemas.microsoft.com/office/drawing/2014/main" id="{9E514373-100A-4496-BC1C-DCCE4A2E44CE}"/>
              </a:ext>
            </a:extLst>
          </p:cNvPr>
          <p:cNvCxnSpPr>
            <a:cxnSpLocks/>
          </p:cNvCxnSpPr>
          <p:nvPr/>
        </p:nvCxnSpPr>
        <p:spPr>
          <a:xfrm flipH="1">
            <a:off x="5189838" y="3286897"/>
            <a:ext cx="568411" cy="142103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7A21CE89-1991-4C84-8DFD-9A5FD1863E7C}"/>
              </a:ext>
            </a:extLst>
          </p:cNvPr>
          <p:cNvCxnSpPr>
            <a:cxnSpLocks/>
          </p:cNvCxnSpPr>
          <p:nvPr/>
        </p:nvCxnSpPr>
        <p:spPr>
          <a:xfrm flipH="1">
            <a:off x="4769707" y="3429000"/>
            <a:ext cx="420131" cy="393357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47B18B3B-0771-4642-B722-F10519A76254}"/>
              </a:ext>
            </a:extLst>
          </p:cNvPr>
          <p:cNvCxnSpPr>
            <a:cxnSpLocks/>
          </p:cNvCxnSpPr>
          <p:nvPr/>
        </p:nvCxnSpPr>
        <p:spPr>
          <a:xfrm>
            <a:off x="4769708" y="3822357"/>
            <a:ext cx="420130" cy="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Přímá spojnice 15">
            <a:extLst>
              <a:ext uri="{FF2B5EF4-FFF2-40B4-BE49-F238E27FC236}">
                <a16:creationId xmlns:a16="http://schemas.microsoft.com/office/drawing/2014/main" id="{CB3FA09A-5CCF-4528-A0E0-AB05C883A03C}"/>
              </a:ext>
            </a:extLst>
          </p:cNvPr>
          <p:cNvCxnSpPr>
            <a:cxnSpLocks/>
          </p:cNvCxnSpPr>
          <p:nvPr/>
        </p:nvCxnSpPr>
        <p:spPr>
          <a:xfrm flipV="1">
            <a:off x="5189838" y="3500051"/>
            <a:ext cx="429912" cy="322306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D48B9785-9282-4B05-8CBA-61001F2BFE74}"/>
              </a:ext>
            </a:extLst>
          </p:cNvPr>
          <p:cNvCxnSpPr>
            <a:cxnSpLocks/>
          </p:cNvCxnSpPr>
          <p:nvPr/>
        </p:nvCxnSpPr>
        <p:spPr>
          <a:xfrm>
            <a:off x="5700584" y="3764692"/>
            <a:ext cx="675502" cy="1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AB412EC8-E404-49FF-A780-0D5302DF6D27}"/>
              </a:ext>
            </a:extLst>
          </p:cNvPr>
          <p:cNvSpPr txBox="1"/>
          <p:nvPr/>
        </p:nvSpPr>
        <p:spPr>
          <a:xfrm>
            <a:off x="4844108" y="3902333"/>
            <a:ext cx="17129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Vstupní branka cca 1m </a:t>
            </a:r>
          </a:p>
        </p:txBody>
      </p:sp>
    </p:spTree>
    <p:extLst>
      <p:ext uri="{BB962C8B-B14F-4D97-AF65-F5344CB8AC3E}">
        <p14:creationId xmlns:p14="http://schemas.microsoft.com/office/powerpoint/2010/main" val="19220700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77B508F-EAA9-45B2-9BD4-4329E1EDA7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0923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ázek 5">
            <a:extLst>
              <a:ext uri="{FF2B5EF4-FFF2-40B4-BE49-F238E27FC236}">
                <a16:creationId xmlns:a16="http://schemas.microsoft.com/office/drawing/2014/main" id="{C1329A3E-10CF-4D28-8F60-290B511EC0D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17755" y="507013"/>
            <a:ext cx="7200900" cy="5267325"/>
          </a:xfrm>
          <a:prstGeom prst="rect">
            <a:avLst/>
          </a:prstGeom>
        </p:spPr>
      </p:pic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A6680E6F-E40A-4561-992D-AA31DEE12FB2}"/>
              </a:ext>
            </a:extLst>
          </p:cNvPr>
          <p:cNvCxnSpPr>
            <a:cxnSpLocks/>
          </p:cNvCxnSpPr>
          <p:nvPr/>
        </p:nvCxnSpPr>
        <p:spPr>
          <a:xfrm flipH="1">
            <a:off x="2017756" y="4981575"/>
            <a:ext cx="706394" cy="326682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B53E284F-201B-4CD0-AD77-CEDE15D08CF1}"/>
              </a:ext>
            </a:extLst>
          </p:cNvPr>
          <p:cNvCxnSpPr>
            <a:cxnSpLocks/>
          </p:cNvCxnSpPr>
          <p:nvPr/>
        </p:nvCxnSpPr>
        <p:spPr>
          <a:xfrm flipH="1">
            <a:off x="4703806" y="3140675"/>
            <a:ext cx="2316119" cy="986482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6196CF5E-129B-4467-A3BF-7CA8BC27832B}"/>
              </a:ext>
            </a:extLst>
          </p:cNvPr>
          <p:cNvCxnSpPr>
            <a:cxnSpLocks/>
          </p:cNvCxnSpPr>
          <p:nvPr/>
        </p:nvCxnSpPr>
        <p:spPr>
          <a:xfrm flipH="1">
            <a:off x="7019926" y="3009900"/>
            <a:ext cx="142874" cy="130775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9218B013-4D6A-47D3-9784-679B47C75DFF}"/>
              </a:ext>
            </a:extLst>
          </p:cNvPr>
          <p:cNvCxnSpPr>
            <a:cxnSpLocks/>
          </p:cNvCxnSpPr>
          <p:nvPr/>
        </p:nvCxnSpPr>
        <p:spPr>
          <a:xfrm flipH="1" flipV="1">
            <a:off x="6896100" y="2971800"/>
            <a:ext cx="266701" cy="3810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Přímá spojnice 16">
            <a:extLst>
              <a:ext uri="{FF2B5EF4-FFF2-40B4-BE49-F238E27FC236}">
                <a16:creationId xmlns:a16="http://schemas.microsoft.com/office/drawing/2014/main" id="{EE9D869F-C31B-44FE-958A-53C577F5B569}"/>
              </a:ext>
            </a:extLst>
          </p:cNvPr>
          <p:cNvCxnSpPr>
            <a:cxnSpLocks/>
          </p:cNvCxnSpPr>
          <p:nvPr/>
        </p:nvCxnSpPr>
        <p:spPr>
          <a:xfrm flipH="1" flipV="1">
            <a:off x="6477000" y="2921600"/>
            <a:ext cx="266701" cy="38100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Přímá spojnice 17">
            <a:extLst>
              <a:ext uri="{FF2B5EF4-FFF2-40B4-BE49-F238E27FC236}">
                <a16:creationId xmlns:a16="http://schemas.microsoft.com/office/drawing/2014/main" id="{EF0A3A9B-F0E2-4B52-B8B7-A98A767C4473}"/>
              </a:ext>
            </a:extLst>
          </p:cNvPr>
          <p:cNvCxnSpPr>
            <a:cxnSpLocks/>
          </p:cNvCxnSpPr>
          <p:nvPr/>
        </p:nvCxnSpPr>
        <p:spPr>
          <a:xfrm flipH="1">
            <a:off x="6743701" y="2990850"/>
            <a:ext cx="152400" cy="99625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Přímá spojnice 20">
            <a:extLst>
              <a:ext uri="{FF2B5EF4-FFF2-40B4-BE49-F238E27FC236}">
                <a16:creationId xmlns:a16="http://schemas.microsoft.com/office/drawing/2014/main" id="{0482CB4B-624A-4FC0-84DA-D39A232D6DE6}"/>
              </a:ext>
            </a:extLst>
          </p:cNvPr>
          <p:cNvCxnSpPr>
            <a:cxnSpLocks/>
          </p:cNvCxnSpPr>
          <p:nvPr/>
        </p:nvCxnSpPr>
        <p:spPr>
          <a:xfrm flipH="1" flipV="1">
            <a:off x="3695700" y="3733800"/>
            <a:ext cx="1008105" cy="393357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Přímá spojnice 23">
            <a:extLst>
              <a:ext uri="{FF2B5EF4-FFF2-40B4-BE49-F238E27FC236}">
                <a16:creationId xmlns:a16="http://schemas.microsoft.com/office/drawing/2014/main" id="{AF8AF659-8CBA-494D-948D-AE68DDB325B7}"/>
              </a:ext>
            </a:extLst>
          </p:cNvPr>
          <p:cNvCxnSpPr>
            <a:cxnSpLocks/>
          </p:cNvCxnSpPr>
          <p:nvPr/>
        </p:nvCxnSpPr>
        <p:spPr>
          <a:xfrm flipV="1">
            <a:off x="2724150" y="4038600"/>
            <a:ext cx="0" cy="942975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ovéPole 26">
            <a:extLst>
              <a:ext uri="{FF2B5EF4-FFF2-40B4-BE49-F238E27FC236}">
                <a16:creationId xmlns:a16="http://schemas.microsoft.com/office/drawing/2014/main" id="{B77FB2E6-8759-4AF0-89AA-B132758C8BF6}"/>
              </a:ext>
            </a:extLst>
          </p:cNvPr>
          <p:cNvSpPr txBox="1"/>
          <p:nvPr/>
        </p:nvSpPr>
        <p:spPr>
          <a:xfrm>
            <a:off x="2990850" y="4127157"/>
            <a:ext cx="17129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/>
              <a:t>Brána cca 3,5m </a:t>
            </a:r>
          </a:p>
        </p:txBody>
      </p:sp>
    </p:spTree>
    <p:extLst>
      <p:ext uri="{BB962C8B-B14F-4D97-AF65-F5344CB8AC3E}">
        <p14:creationId xmlns:p14="http://schemas.microsoft.com/office/powerpoint/2010/main" val="615342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3849D057-71D0-4F84-852B-39E6C072AD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80885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ázek 5">
            <a:extLst>
              <a:ext uri="{FF2B5EF4-FFF2-40B4-BE49-F238E27FC236}">
                <a16:creationId xmlns:a16="http://schemas.microsoft.com/office/drawing/2014/main" id="{05FDC4FC-4A3C-4A64-9183-8AFF059116B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571750" y="800100"/>
            <a:ext cx="7048500" cy="5257800"/>
          </a:xfrm>
          <a:prstGeom prst="rect">
            <a:avLst/>
          </a:prstGeom>
        </p:spPr>
      </p:pic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47A73B17-F05A-4E02-9FD6-74168EA9AF75}"/>
              </a:ext>
            </a:extLst>
          </p:cNvPr>
          <p:cNvCxnSpPr>
            <a:cxnSpLocks/>
          </p:cNvCxnSpPr>
          <p:nvPr/>
        </p:nvCxnSpPr>
        <p:spPr>
          <a:xfrm flipH="1" flipV="1">
            <a:off x="7029452" y="3581403"/>
            <a:ext cx="1466848" cy="171447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590307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03772E7B-B7DF-4BE6-AA8C-E406590A9A5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3467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Obrázek 5">
            <a:extLst>
              <a:ext uri="{FF2B5EF4-FFF2-40B4-BE49-F238E27FC236}">
                <a16:creationId xmlns:a16="http://schemas.microsoft.com/office/drawing/2014/main" id="{9C2D58A4-89D2-45BE-BD13-E3AF18EA00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4537" y="240298"/>
            <a:ext cx="5253663" cy="6377403"/>
          </a:xfrm>
          <a:prstGeom prst="rect">
            <a:avLst/>
          </a:prstGeom>
        </p:spPr>
      </p:pic>
      <p:cxnSp>
        <p:nvCxnSpPr>
          <p:cNvPr id="7" name="Přímá spojnice 6">
            <a:extLst>
              <a:ext uri="{FF2B5EF4-FFF2-40B4-BE49-F238E27FC236}">
                <a16:creationId xmlns:a16="http://schemas.microsoft.com/office/drawing/2014/main" id="{24ACFE96-D9E5-47AA-A0D1-339B1BCF46C5}"/>
              </a:ext>
            </a:extLst>
          </p:cNvPr>
          <p:cNvCxnSpPr>
            <a:cxnSpLocks/>
          </p:cNvCxnSpPr>
          <p:nvPr/>
        </p:nvCxnSpPr>
        <p:spPr>
          <a:xfrm flipH="1" flipV="1">
            <a:off x="7010400" y="4572000"/>
            <a:ext cx="1447800" cy="904876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Přímá spojnice 8">
            <a:extLst>
              <a:ext uri="{FF2B5EF4-FFF2-40B4-BE49-F238E27FC236}">
                <a16:creationId xmlns:a16="http://schemas.microsoft.com/office/drawing/2014/main" id="{1BAE1011-9E82-43C1-949A-74D7F1373CA5}"/>
              </a:ext>
            </a:extLst>
          </p:cNvPr>
          <p:cNvCxnSpPr>
            <a:cxnSpLocks/>
          </p:cNvCxnSpPr>
          <p:nvPr/>
        </p:nvCxnSpPr>
        <p:spPr>
          <a:xfrm flipH="1" flipV="1">
            <a:off x="5831368" y="3838575"/>
            <a:ext cx="1447800" cy="904876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2E302998-DFBF-4C46-9A6F-4965F949EB86}"/>
              </a:ext>
            </a:extLst>
          </p:cNvPr>
          <p:cNvCxnSpPr>
            <a:cxnSpLocks/>
          </p:cNvCxnSpPr>
          <p:nvPr/>
        </p:nvCxnSpPr>
        <p:spPr>
          <a:xfrm flipH="1" flipV="1">
            <a:off x="5610225" y="3600450"/>
            <a:ext cx="347037" cy="328615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Přímá spojnice 12">
            <a:extLst>
              <a:ext uri="{FF2B5EF4-FFF2-40B4-BE49-F238E27FC236}">
                <a16:creationId xmlns:a16="http://schemas.microsoft.com/office/drawing/2014/main" id="{E1DF0AB3-C10E-42BE-AF7B-8E3FE916C967}"/>
              </a:ext>
            </a:extLst>
          </p:cNvPr>
          <p:cNvCxnSpPr>
            <a:cxnSpLocks/>
          </p:cNvCxnSpPr>
          <p:nvPr/>
        </p:nvCxnSpPr>
        <p:spPr>
          <a:xfrm flipV="1">
            <a:off x="5610226" y="3257550"/>
            <a:ext cx="85724" cy="378619"/>
          </a:xfrm>
          <a:prstGeom prst="line">
            <a:avLst/>
          </a:prstGeom>
          <a:ln w="5080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425172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2</Words>
  <Application>Microsoft Office PowerPoint</Application>
  <PresentationFormat>Širokoúhlá obrazovka</PresentationFormat>
  <Paragraphs>7</Paragraphs>
  <Slides>6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6</vt:i4>
      </vt:variant>
    </vt:vector>
  </HeadingPairs>
  <TitlesOfParts>
    <vt:vector size="11" baseType="lpstr">
      <vt:lpstr>Arial</vt:lpstr>
      <vt:lpstr>Calibri</vt:lpstr>
      <vt:lpstr>Calibri Light</vt:lpstr>
      <vt:lpstr>Motiv Office</vt:lpstr>
      <vt:lpstr>think-cell Slide</vt:lpstr>
      <vt:lpstr>Stavba oplocení ze ztraceného bednění/tvárnic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aiser, Vitezslav 2 (PSW-V)</dc:creator>
  <cp:lastModifiedBy>Kaiser, Vitezslav 2 (PSW-V)</cp:lastModifiedBy>
  <cp:revision>18</cp:revision>
  <dcterms:created xsi:type="dcterms:W3CDTF">2022-07-25T09:11:14Z</dcterms:created>
  <dcterms:modified xsi:type="dcterms:W3CDTF">2022-07-25T10:13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1c9b508-7c6e-42bd-bedf-808292653d6c_Enabled">
    <vt:lpwstr>true</vt:lpwstr>
  </property>
  <property fmtid="{D5CDD505-2E9C-101B-9397-08002B2CF9AE}" pid="3" name="MSIP_Label_b1c9b508-7c6e-42bd-bedf-808292653d6c_SetDate">
    <vt:lpwstr>2022-07-25T10:13:08Z</vt:lpwstr>
  </property>
  <property fmtid="{D5CDD505-2E9C-101B-9397-08002B2CF9AE}" pid="4" name="MSIP_Label_b1c9b508-7c6e-42bd-bedf-808292653d6c_Method">
    <vt:lpwstr>Standard</vt:lpwstr>
  </property>
  <property fmtid="{D5CDD505-2E9C-101B-9397-08002B2CF9AE}" pid="5" name="MSIP_Label_b1c9b508-7c6e-42bd-bedf-808292653d6c_Name">
    <vt:lpwstr>b1c9b508-7c6e-42bd-bedf-808292653d6c</vt:lpwstr>
  </property>
  <property fmtid="{D5CDD505-2E9C-101B-9397-08002B2CF9AE}" pid="6" name="MSIP_Label_b1c9b508-7c6e-42bd-bedf-808292653d6c_SiteId">
    <vt:lpwstr>2882be50-2012-4d88-ac86-544124e120c8</vt:lpwstr>
  </property>
  <property fmtid="{D5CDD505-2E9C-101B-9397-08002B2CF9AE}" pid="7" name="MSIP_Label_b1c9b508-7c6e-42bd-bedf-808292653d6c_ActionId">
    <vt:lpwstr>67ef3e06-264c-4394-aa93-5d74400a6a70</vt:lpwstr>
  </property>
  <property fmtid="{D5CDD505-2E9C-101B-9397-08002B2CF9AE}" pid="8" name="MSIP_Label_b1c9b508-7c6e-42bd-bedf-808292653d6c_ContentBits">
    <vt:lpwstr>3</vt:lpwstr>
  </property>
</Properties>
</file>